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67" r:id="rId3"/>
    <p:sldId id="265" r:id="rId4"/>
    <p:sldId id="264" r:id="rId5"/>
    <p:sldId id="266" r:id="rId6"/>
    <p:sldId id="263" r:id="rId7"/>
    <p:sldId id="261" r:id="rId8"/>
    <p:sldId id="260" r:id="rId9"/>
    <p:sldId id="259" r:id="rId10"/>
    <p:sldId id="258" r:id="rId11"/>
    <p:sldId id="257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>
        <p:scale>
          <a:sx n="118" d="100"/>
          <a:sy n="118" d="100"/>
        </p:scale>
        <p:origin x="636" y="23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3695" y="5264612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9210" y="5570588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638" y="598672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1165" y="3919469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9497" y="3519416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9016504" y="5814963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27297" y="5502245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4800" y="619650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161" y="604657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245" y="581576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06658" y="1486848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3202" y="1974475"/>
            <a:ext cx="2465294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73694" y="54585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86827" y="578184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37042" y="600199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5763AED-CD5F-DD92-FA9A-2CEE11EC22F9}"/>
              </a:ext>
            </a:extLst>
          </p:cNvPr>
          <p:cNvSpPr txBox="1"/>
          <p:nvPr/>
        </p:nvSpPr>
        <p:spPr>
          <a:xfrm>
            <a:off x="2796636" y="614808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4" y="3589040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4</Words>
  <Application>Microsoft Office PowerPoint</Application>
  <PresentationFormat>Widescreen</PresentationFormat>
  <Paragraphs>171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28</cp:revision>
  <dcterms:created xsi:type="dcterms:W3CDTF">2022-07-08T09:27:23Z</dcterms:created>
  <dcterms:modified xsi:type="dcterms:W3CDTF">2022-09-18T11:58:55Z</dcterms:modified>
</cp:coreProperties>
</file>